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32"/>
  </p:notesMasterIdLst>
  <p:sldIdLst>
    <p:sldId id="256" r:id="rId2"/>
    <p:sldId id="272" r:id="rId3"/>
    <p:sldId id="267" r:id="rId4"/>
    <p:sldId id="266" r:id="rId5"/>
    <p:sldId id="285" r:id="rId6"/>
    <p:sldId id="260" r:id="rId7"/>
    <p:sldId id="275" r:id="rId8"/>
    <p:sldId id="261" r:id="rId9"/>
    <p:sldId id="273" r:id="rId10"/>
    <p:sldId id="274" r:id="rId11"/>
    <p:sldId id="271" r:id="rId12"/>
    <p:sldId id="276" r:id="rId13"/>
    <p:sldId id="280" r:id="rId14"/>
    <p:sldId id="281" r:id="rId15"/>
    <p:sldId id="282" r:id="rId16"/>
    <p:sldId id="283" r:id="rId17"/>
    <p:sldId id="290" r:id="rId18"/>
    <p:sldId id="286" r:id="rId19"/>
    <p:sldId id="288" r:id="rId20"/>
    <p:sldId id="289" r:id="rId21"/>
    <p:sldId id="277" r:id="rId22"/>
    <p:sldId id="279" r:id="rId23"/>
    <p:sldId id="278" r:id="rId24"/>
    <p:sldId id="269" r:id="rId25"/>
    <p:sldId id="263" r:id="rId26"/>
    <p:sldId id="258" r:id="rId27"/>
    <p:sldId id="270" r:id="rId28"/>
    <p:sldId id="284" r:id="rId29"/>
    <p:sldId id="257" r:id="rId30"/>
    <p:sldId id="268" r:id="rId3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F08D6A4-8942-489C-BD56-87CE9B237A54}">
          <p14:sldIdLst>
            <p14:sldId id="256"/>
          </p14:sldIdLst>
        </p14:section>
        <p14:section name="project management" id="{3EDC1F3D-5E79-4EDB-9A00-B68094202876}">
          <p14:sldIdLst>
            <p14:sldId id="272"/>
            <p14:sldId id="267"/>
            <p14:sldId id="266"/>
            <p14:sldId id="285"/>
          </p14:sldIdLst>
        </p14:section>
        <p14:section name="background" id="{734442C7-9DFA-4163-AB0C-F6E41907FEF9}">
          <p14:sldIdLst>
            <p14:sldId id="260"/>
            <p14:sldId id="275"/>
            <p14:sldId id="261"/>
            <p14:sldId id="273"/>
            <p14:sldId id="274"/>
            <p14:sldId id="271"/>
            <p14:sldId id="276"/>
          </p14:sldIdLst>
        </p14:section>
        <p14:section name="model comparison" id="{F8E6AF8F-3C53-41C9-8FE5-0CD2B05328EF}">
          <p14:sldIdLst>
            <p14:sldId id="280"/>
            <p14:sldId id="281"/>
            <p14:sldId id="282"/>
            <p14:sldId id="283"/>
            <p14:sldId id="290"/>
            <p14:sldId id="286"/>
            <p14:sldId id="288"/>
            <p14:sldId id="289"/>
          </p14:sldIdLst>
        </p14:section>
        <p14:section name="Notes" id="{BD5F37D2-34EC-4962-982B-3F5187946EDA}">
          <p14:sldIdLst>
            <p14:sldId id="277"/>
            <p14:sldId id="279"/>
            <p14:sldId id="278"/>
            <p14:sldId id="269"/>
            <p14:sldId id="263"/>
            <p14:sldId id="258"/>
            <p14:sldId id="270"/>
            <p14:sldId id="284"/>
            <p14:sldId id="25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4673" autoAdjust="0"/>
  </p:normalViewPr>
  <p:slideViewPr>
    <p:cSldViewPr snapToGrid="0">
      <p:cViewPr varScale="1">
        <p:scale>
          <a:sx n="72" d="100"/>
          <a:sy n="72" d="100"/>
        </p:scale>
        <p:origin x="110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4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4/1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.sv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B85E4-5F40-42A5-94B4-D3D1B2909239}"/>
              </a:ext>
            </a:extLst>
          </p:cNvPr>
          <p:cNvSpPr txBox="1"/>
          <p:nvPr/>
        </p:nvSpPr>
        <p:spPr>
          <a:xfrm>
            <a:off x="2679405" y="3429000"/>
            <a:ext cx="72106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Example showed imputation by +1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gratio type is ILR or SLR (balances or amalgamation) -&gt; comparison questionable?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strike="sngStrike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</a:t>
              </a:r>
              <a:r>
                <a:rPr lang="de-DE" sz="1200" strike="sngStrike" dirty="0"/>
                <a:t>nested </a:t>
              </a:r>
              <a:r>
                <a:rPr lang="de-DE" sz="1200" dirty="0"/>
                <a:t>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3BA7A27-1719-40BF-AFC4-A09400B9C3D4}"/>
              </a:ext>
            </a:extLst>
          </p:cNvPr>
          <p:cNvSpPr txBox="1"/>
          <p:nvPr/>
        </p:nvSpPr>
        <p:spPr>
          <a:xfrm rot="1413409">
            <a:off x="10436173" y="3164721"/>
            <a:ext cx="209974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uses repeated C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6F372-AF43-41A8-BBB9-582A050D56E4}"/>
              </a:ext>
            </a:extLst>
          </p:cNvPr>
          <p:cNvSpPr txBox="1"/>
          <p:nvPr/>
        </p:nvSpPr>
        <p:spPr>
          <a:xfrm>
            <a:off x="10023103" y="5383831"/>
            <a:ext cx="245951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only has glmnet and xgboost -&gt; for now sticking to those</a:t>
            </a:r>
          </a:p>
        </p:txBody>
      </p: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0AD768-A59A-470B-9377-790E03FF084D}"/>
              </a:ext>
            </a:extLst>
          </p:cNvPr>
          <p:cNvSpPr/>
          <p:nvPr/>
        </p:nvSpPr>
        <p:spPr>
          <a:xfrm>
            <a:off x="4306186" y="467833"/>
            <a:ext cx="6836735" cy="53588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611667-AD1D-471D-A4C9-274318F03281}"/>
              </a:ext>
            </a:extLst>
          </p:cNvPr>
          <p:cNvSpPr txBox="1"/>
          <p:nvPr/>
        </p:nvSpPr>
        <p:spPr>
          <a:xfrm>
            <a:off x="1175081" y="2782112"/>
            <a:ext cx="14141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Dataset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261F977-FCCB-4A80-AC8F-4B6D7797EEB1}"/>
              </a:ext>
            </a:extLst>
          </p:cNvPr>
          <p:cNvSpPr/>
          <p:nvPr/>
        </p:nvSpPr>
        <p:spPr>
          <a:xfrm>
            <a:off x="2690038" y="2782112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7FFBF1C-6685-403E-B773-8642460D6EB2}"/>
              </a:ext>
            </a:extLst>
          </p:cNvPr>
          <p:cNvSpPr/>
          <p:nvPr/>
        </p:nvSpPr>
        <p:spPr>
          <a:xfrm>
            <a:off x="5007935" y="1853646"/>
            <a:ext cx="5872485" cy="37497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181884-8B04-4FF4-B76B-68A48EE191A4}"/>
              </a:ext>
            </a:extLst>
          </p:cNvPr>
          <p:cNvSpPr/>
          <p:nvPr/>
        </p:nvSpPr>
        <p:spPr>
          <a:xfrm>
            <a:off x="5911212" y="2817772"/>
            <a:ext cx="4729792" cy="250896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094F691-7C4F-4392-B69F-E8A30F3A96C2}"/>
              </a:ext>
            </a:extLst>
          </p:cNvPr>
          <p:cNvSpPr txBox="1"/>
          <p:nvPr/>
        </p:nvSpPr>
        <p:spPr>
          <a:xfrm>
            <a:off x="4322136" y="526956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rans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A2E94E-3446-49B2-A5CD-BECC77DA3C69}"/>
              </a:ext>
            </a:extLst>
          </p:cNvPr>
          <p:cNvSpPr txBox="1"/>
          <p:nvPr/>
        </p:nvSpPr>
        <p:spPr>
          <a:xfrm>
            <a:off x="4322136" y="954155"/>
            <a:ext cx="6717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SS(), ALR_optimal(), ALR_worst(), ALR_random(), CLR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50C6A0-1926-4046-BC27-DFA2FE1A9C1C}"/>
              </a:ext>
            </a:extLst>
          </p:cNvPr>
          <p:cNvSpPr txBox="1"/>
          <p:nvPr/>
        </p:nvSpPr>
        <p:spPr>
          <a:xfrm>
            <a:off x="5031202" y="2212828"/>
            <a:ext cx="62977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itial split of data, k-folds = 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4A0A2DE-16AF-4170-ACB4-FD4746EBB9F5}"/>
              </a:ext>
            </a:extLst>
          </p:cNvPr>
          <p:cNvSpPr txBox="1"/>
          <p:nvPr/>
        </p:nvSpPr>
        <p:spPr>
          <a:xfrm>
            <a:off x="5007935" y="1858865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0B02149-0C4C-44EE-88C0-C3ADB582BF80}"/>
              </a:ext>
            </a:extLst>
          </p:cNvPr>
          <p:cNvSpPr/>
          <p:nvPr/>
        </p:nvSpPr>
        <p:spPr>
          <a:xfrm>
            <a:off x="11438976" y="1435395"/>
            <a:ext cx="1506048" cy="122628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89770FC-6936-4E84-9E60-791E4AEA651A}"/>
              </a:ext>
            </a:extLst>
          </p:cNvPr>
          <p:cNvSpPr txBox="1"/>
          <p:nvPr/>
        </p:nvSpPr>
        <p:spPr>
          <a:xfrm>
            <a:off x="11634614" y="1793808"/>
            <a:ext cx="1310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est se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277B8AC-608F-404F-910C-FF6C16EE64B0}"/>
              </a:ext>
            </a:extLst>
          </p:cNvPr>
          <p:cNvSpPr txBox="1"/>
          <p:nvPr/>
        </p:nvSpPr>
        <p:spPr>
          <a:xfrm>
            <a:off x="5975007" y="2848150"/>
            <a:ext cx="4327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2 + Model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629AE7-8DD7-46F5-8B1A-937532D154CC}"/>
              </a:ext>
            </a:extLst>
          </p:cNvPr>
          <p:cNvSpPr txBox="1"/>
          <p:nvPr/>
        </p:nvSpPr>
        <p:spPr>
          <a:xfrm>
            <a:off x="6020686" y="3268321"/>
            <a:ext cx="4081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K-folds = 5</a:t>
            </a:r>
          </a:p>
          <a:p>
            <a:endParaRPr lang="de-DE" dirty="0"/>
          </a:p>
          <a:p>
            <a:r>
              <a:rPr lang="de-DE" dirty="0"/>
              <a:t>cv.selbal</a:t>
            </a:r>
          </a:p>
          <a:p>
            <a:r>
              <a:rPr lang="de-DE" dirty="0"/>
              <a:t>cv.codacore</a:t>
            </a:r>
          </a:p>
          <a:p>
            <a:r>
              <a:rPr lang="de-DE" dirty="0"/>
              <a:t>ENET</a:t>
            </a:r>
          </a:p>
          <a:p>
            <a:r>
              <a:rPr lang="de-DE" dirty="0"/>
              <a:t>LDA</a:t>
            </a:r>
          </a:p>
          <a:p>
            <a:r>
              <a:rPr lang="de-DE" dirty="0"/>
              <a:t>XGBoo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8DF47F0-180B-4ECD-9EC5-0FAD8F6AD0D9}"/>
              </a:ext>
            </a:extLst>
          </p:cNvPr>
          <p:cNvSpPr/>
          <p:nvPr/>
        </p:nvSpPr>
        <p:spPr>
          <a:xfrm>
            <a:off x="11438976" y="4282913"/>
            <a:ext cx="1519166" cy="1379759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446927C-78DF-451F-890D-477AC52B8676}"/>
              </a:ext>
            </a:extLst>
          </p:cNvPr>
          <p:cNvSpPr txBox="1"/>
          <p:nvPr/>
        </p:nvSpPr>
        <p:spPr>
          <a:xfrm>
            <a:off x="11518374" y="4605618"/>
            <a:ext cx="13915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5x Model accuracy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8DF1C14D-4124-4C1E-8065-E84C82426493}"/>
              </a:ext>
            </a:extLst>
          </p:cNvPr>
          <p:cNvSpPr/>
          <p:nvPr/>
        </p:nvSpPr>
        <p:spPr>
          <a:xfrm rot="5400000">
            <a:off x="11543413" y="3283797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Arrow: Curved Down 13">
            <a:extLst>
              <a:ext uri="{FF2B5EF4-FFF2-40B4-BE49-F238E27FC236}">
                <a16:creationId xmlns:a16="http://schemas.microsoft.com/office/drawing/2014/main" id="{E03AA2E6-2D0B-42B5-8D5D-71BCA72B5FFD}"/>
              </a:ext>
            </a:extLst>
          </p:cNvPr>
          <p:cNvSpPr/>
          <p:nvPr/>
        </p:nvSpPr>
        <p:spPr>
          <a:xfrm rot="19742778">
            <a:off x="10119539" y="872366"/>
            <a:ext cx="1839432" cy="813793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1" name="Arrow: Curved Down 50">
            <a:extLst>
              <a:ext uri="{FF2B5EF4-FFF2-40B4-BE49-F238E27FC236}">
                <a16:creationId xmlns:a16="http://schemas.microsoft.com/office/drawing/2014/main" id="{69FBA25F-FDEA-4F5E-B8F3-D6052EF6FDF8}"/>
              </a:ext>
            </a:extLst>
          </p:cNvPr>
          <p:cNvSpPr/>
          <p:nvPr/>
        </p:nvSpPr>
        <p:spPr>
          <a:xfrm rot="19287333">
            <a:off x="9943675" y="3792887"/>
            <a:ext cx="1839432" cy="813793"/>
          </a:xfrm>
          <a:prstGeom prst="curved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ABD0FA6-70C3-4752-ABA9-C68A18300A59}"/>
              </a:ext>
            </a:extLst>
          </p:cNvPr>
          <p:cNvSpPr/>
          <p:nvPr/>
        </p:nvSpPr>
        <p:spPr>
          <a:xfrm>
            <a:off x="3732028" y="148856"/>
            <a:ext cx="9654363" cy="6351977"/>
          </a:xfrm>
          <a:prstGeom prst="ellipse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6B392D2-B354-448B-990C-3B9E3DA5C747}"/>
              </a:ext>
            </a:extLst>
          </p:cNvPr>
          <p:cNvSpPr txBox="1"/>
          <p:nvPr/>
        </p:nvSpPr>
        <p:spPr>
          <a:xfrm>
            <a:off x="2743537" y="4984935"/>
            <a:ext cx="22042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7030A0"/>
                </a:solidFill>
              </a:rPr>
              <a:t>Repeat 10x to observe statistical fluctu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6F2CFA-5B65-49D8-82B7-87D8FD3D698C}"/>
              </a:ext>
            </a:extLst>
          </p:cNvPr>
          <p:cNvSpPr txBox="1"/>
          <p:nvPr/>
        </p:nvSpPr>
        <p:spPr>
          <a:xfrm rot="1525523">
            <a:off x="8501597" y="2003123"/>
            <a:ext cx="3033375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Procedure (besides transformation) has been implemented by mikropml -&gt; very easy to use!</a:t>
            </a:r>
          </a:p>
        </p:txBody>
      </p:sp>
    </p:spTree>
    <p:extLst>
      <p:ext uri="{BB962C8B-B14F-4D97-AF65-F5344CB8AC3E}">
        <p14:creationId xmlns:p14="http://schemas.microsoft.com/office/powerpoint/2010/main" val="240875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BE1FF6D1-EFDE-43D4-AFA3-CEAC077B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5360" y="127474"/>
            <a:ext cx="7435702" cy="63734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319884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pic>
        <p:nvPicPr>
          <p:cNvPr id="8" name="Picture 7" descr="Chart, box and whisker chart&#10;&#10;Description automatically generated">
            <a:extLst>
              <a:ext uri="{FF2B5EF4-FFF2-40B4-BE49-F238E27FC236}">
                <a16:creationId xmlns:a16="http://schemas.microsoft.com/office/drawing/2014/main" id="{78F5F10E-4D5E-41FF-8736-02952C34D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113" y="248303"/>
            <a:ext cx="6978502" cy="59815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10177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E6E733B7-10DE-408D-8F12-152459D7A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633" y="273291"/>
            <a:ext cx="7265582" cy="6227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380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40E3D7-5107-4E67-BC35-608141D14CAD}"/>
              </a:ext>
            </a:extLst>
          </p:cNvPr>
          <p:cNvSpPr txBox="1"/>
          <p:nvPr/>
        </p:nvSpPr>
        <p:spPr>
          <a:xfrm>
            <a:off x="7160325" y="1218828"/>
            <a:ext cx="3041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50% abundance filt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B55-8BD9-40FF-B0F0-6C056877F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579" y="1685986"/>
            <a:ext cx="4830087" cy="4384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92C14E-81CC-4697-9FED-98666E3E140C}"/>
              </a:ext>
            </a:extLst>
          </p:cNvPr>
          <p:cNvSpPr txBox="1"/>
          <p:nvPr/>
        </p:nvSpPr>
        <p:spPr>
          <a:xfrm>
            <a:off x="1311579" y="1236793"/>
            <a:ext cx="3285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10% abundance fil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8AC56F-7FF0-4533-BE08-D9D0CBADF699}"/>
              </a:ext>
            </a:extLst>
          </p:cNvPr>
          <p:cNvSpPr txBox="1"/>
          <p:nvPr/>
        </p:nvSpPr>
        <p:spPr>
          <a:xfrm>
            <a:off x="1443370" y="6141301"/>
            <a:ext cx="517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393 524 555 580 643 683 77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8C7568-4BDE-4A1C-9B45-94C3057BE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422" y="1685986"/>
            <a:ext cx="4581967" cy="43267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A5AB35-2F3A-44EB-B871-C79AD654FD72}"/>
              </a:ext>
            </a:extLst>
          </p:cNvPr>
          <p:cNvSpPr txBox="1"/>
          <p:nvPr/>
        </p:nvSpPr>
        <p:spPr>
          <a:xfrm>
            <a:off x="7160325" y="6110609"/>
            <a:ext cx="41101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10  50  57  89 1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5BFE79-A002-4591-982D-3650D78F1331}"/>
              </a:ext>
            </a:extLst>
          </p:cNvPr>
          <p:cNvSpPr txBox="1"/>
          <p:nvPr/>
        </p:nvSpPr>
        <p:spPr>
          <a:xfrm>
            <a:off x="7170256" y="6418300"/>
            <a:ext cx="338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14 16 40 4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254814-BF1C-4689-8274-18E03FB947D4}"/>
              </a:ext>
            </a:extLst>
          </p:cNvPr>
          <p:cNvSpPr txBox="1"/>
          <p:nvPr/>
        </p:nvSpPr>
        <p:spPr>
          <a:xfrm>
            <a:off x="1466343" y="6462630"/>
            <a:ext cx="34084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 14  52  64 509</a:t>
            </a:r>
          </a:p>
        </p:txBody>
      </p:sp>
    </p:spTree>
    <p:extLst>
      <p:ext uri="{BB962C8B-B14F-4D97-AF65-F5344CB8AC3E}">
        <p14:creationId xmlns:p14="http://schemas.microsoft.com/office/powerpoint/2010/main" val="732719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ikropml</a:t>
            </a:r>
            <a:endParaRPr lang="en-US" sz="32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FAD4F5-81D5-4890-8BB5-F06C93EDD254}"/>
              </a:ext>
            </a:extLst>
          </p:cNvPr>
          <p:cNvSpPr txBox="1"/>
          <p:nvPr/>
        </p:nvSpPr>
        <p:spPr>
          <a:xfrm>
            <a:off x="1392866" y="1268569"/>
            <a:ext cx="875325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Testing out mikropml as it already has a function run_ml() that incorporates nested cross-validation for several standard supervised machine learning models:</a:t>
            </a:r>
          </a:p>
          <a:p>
            <a:endParaRPr lang="de-DE" sz="1100" dirty="0"/>
          </a:p>
          <a:p>
            <a:r>
              <a:rPr lang="de-DE" sz="1100" dirty="0"/>
              <a:t>    Logistic/multiclass/linear regression ("glmnet")</a:t>
            </a:r>
          </a:p>
          <a:p>
            <a:r>
              <a:rPr lang="de-DE" sz="1100" dirty="0"/>
              <a:t>    Random forest ("rf")</a:t>
            </a:r>
          </a:p>
          <a:p>
            <a:r>
              <a:rPr lang="de-DE" sz="1100" dirty="0"/>
              <a:t>    Decision tree ("rpart2")</a:t>
            </a:r>
          </a:p>
          <a:p>
            <a:r>
              <a:rPr lang="de-DE" sz="1100" dirty="0"/>
              <a:t>    Support vector machine with a radial basis kernel ("svmRadial")</a:t>
            </a:r>
          </a:p>
          <a:p>
            <a:r>
              <a:rPr lang="de-DE" sz="1100" dirty="0"/>
              <a:t>    xgboost ("xgbTree")</a:t>
            </a:r>
          </a:p>
          <a:p>
            <a:endParaRPr lang="de-DE" sz="1100" dirty="0"/>
          </a:p>
          <a:p>
            <a:r>
              <a:rPr lang="de-DE" sz="1100" dirty="0"/>
              <a:t>Test it here for linear regression and xgboost.</a:t>
            </a:r>
          </a:p>
          <a:p>
            <a:r>
              <a:rPr lang="de-DE" sz="1100" dirty="0"/>
              <a:t>Function run_ml has several parameters:</a:t>
            </a:r>
          </a:p>
          <a:p>
            <a:r>
              <a:rPr lang="de-DE" sz="1100" dirty="0"/>
              <a:t>           dataset,</a:t>
            </a:r>
          </a:p>
          <a:p>
            <a:r>
              <a:rPr lang="de-DE" sz="1100" dirty="0"/>
              <a:t>           method,</a:t>
            </a:r>
          </a:p>
          <a:p>
            <a:r>
              <a:rPr lang="de-DE" sz="1100" dirty="0"/>
              <a:t>           outcome_colname = NULL, (standardized the first column)</a:t>
            </a:r>
          </a:p>
          <a:p>
            <a:r>
              <a:rPr lang="de-DE" sz="1100" dirty="0"/>
              <a:t>           hyperparameters = NULL,</a:t>
            </a:r>
          </a:p>
          <a:p>
            <a:r>
              <a:rPr lang="de-DE" sz="1100" dirty="0"/>
              <a:t>           find_feature_importance = FALSE, (`TRUE` is recommended if you would like to identify features important for predicting your                                                outcome, but it is resource-intensive.</a:t>
            </a:r>
          </a:p>
          <a:p>
            <a:r>
              <a:rPr lang="de-DE" sz="1100" dirty="0"/>
              <a:t>           calculate_performance = TRUE,</a:t>
            </a:r>
          </a:p>
          <a:p>
            <a:r>
              <a:rPr lang="de-DE" sz="1100" dirty="0"/>
              <a:t>           kfold = 5, (standard at 5)</a:t>
            </a:r>
          </a:p>
          <a:p>
            <a:r>
              <a:rPr lang="de-DE" sz="1100" dirty="0"/>
              <a:t>           cv_times = 100, (standard at 100)</a:t>
            </a:r>
          </a:p>
          <a:p>
            <a:r>
              <a:rPr lang="de-DE" sz="1100" dirty="0"/>
              <a:t>           cross_val = NULL, (cross_val a custom cross-validation scheme from `caret::trainControl()` (default: `NULL`, uses `kfold` cross                              validation repeated `cv_times`). `kfold` and `cv_times` are ignored if the user provides a custom                                          cross-validation scheme.)</a:t>
            </a:r>
          </a:p>
          <a:p>
            <a:r>
              <a:rPr lang="de-DE" sz="1100" dirty="0"/>
              <a:t>           training_frac = 0.8, (standard at 0.8)</a:t>
            </a:r>
          </a:p>
          <a:p>
            <a:r>
              <a:rPr lang="de-DE" sz="1100" dirty="0"/>
              <a:t>           perf_metric_function = NULL,</a:t>
            </a:r>
          </a:p>
          <a:p>
            <a:r>
              <a:rPr lang="de-DE" sz="1100" dirty="0"/>
              <a:t>           perf_metric_name = NULL,</a:t>
            </a:r>
          </a:p>
          <a:p>
            <a:r>
              <a:rPr lang="de-DE" sz="1100" dirty="0"/>
              <a:t>           groups = NULL,</a:t>
            </a:r>
          </a:p>
          <a:p>
            <a:r>
              <a:rPr lang="de-DE" sz="1100" dirty="0"/>
              <a:t>           group_partitions = NULL,</a:t>
            </a:r>
          </a:p>
          <a:p>
            <a:r>
              <a:rPr lang="de-DE" sz="1100" dirty="0"/>
              <a:t>           corr_thresh = 1,</a:t>
            </a:r>
          </a:p>
          <a:p>
            <a:r>
              <a:rPr lang="de-DE" sz="1100" dirty="0"/>
              <a:t>           ntree = 1000, (For random forest, how many trees to use (default: `1000`). Caret doesn't allow this hyperparameter to be tuned)</a:t>
            </a:r>
          </a:p>
          <a:p>
            <a:r>
              <a:rPr lang="de-DE" sz="1100" dirty="0"/>
              <a:t>           seed = NA (set seed for reproducibility)</a:t>
            </a:r>
          </a:p>
        </p:txBody>
      </p:sp>
    </p:spTree>
    <p:extLst>
      <p:ext uri="{BB962C8B-B14F-4D97-AF65-F5344CB8AC3E}">
        <p14:creationId xmlns:p14="http://schemas.microsoft.com/office/powerpoint/2010/main" val="35414649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4" name="Picture 3" descr="Chart, waterfall chart&#10;&#10;Description automatically generated">
            <a:extLst>
              <a:ext uri="{FF2B5EF4-FFF2-40B4-BE49-F238E27FC236}">
                <a16:creationId xmlns:a16="http://schemas.microsoft.com/office/drawing/2014/main" id="{C3A6AC56-832C-4791-9A1D-AEB11862F9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7566" y="1470510"/>
            <a:ext cx="5865492" cy="50275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30F11F0D-5A4A-4425-ABC4-42C9D909F0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896" y="1470511"/>
            <a:ext cx="5865492" cy="50275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A352F63-CBAF-409D-9E4C-C8DAE86B8E86}"/>
              </a:ext>
            </a:extLst>
          </p:cNvPr>
          <p:cNvSpPr txBox="1"/>
          <p:nvPr/>
        </p:nvSpPr>
        <p:spPr>
          <a:xfrm rot="365251">
            <a:off x="8610369" y="326117"/>
            <a:ext cx="3710763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Make format nicer (like codacore and with nicer headlines)</a:t>
            </a:r>
          </a:p>
        </p:txBody>
      </p:sp>
    </p:spTree>
    <p:extLst>
      <p:ext uri="{BB962C8B-B14F-4D97-AF65-F5344CB8AC3E}">
        <p14:creationId xmlns:p14="http://schemas.microsoft.com/office/powerpoint/2010/main" val="36573981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8478DF-F55C-4045-95C1-11F014038F0C}"/>
              </a:ext>
            </a:extLst>
          </p:cNvPr>
          <p:cNvSpPr txBox="1"/>
          <p:nvPr/>
        </p:nvSpPr>
        <p:spPr>
          <a:xfrm>
            <a:off x="9988317" y="36342"/>
            <a:ext cx="22292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Holdout set not included and</a:t>
            </a:r>
          </a:p>
          <a:p>
            <a:r>
              <a:rPr lang="de-DE" b="1" i="1" dirty="0"/>
              <a:t>NOT predicted on holdout set!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ED3CFC10-13CA-4A85-945A-33BF36F1BD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5778" y="1509823"/>
            <a:ext cx="5822962" cy="4991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 descr="Chart, waterfall chart&#10;&#10;Description automatically generated">
            <a:extLst>
              <a:ext uri="{FF2B5EF4-FFF2-40B4-BE49-F238E27FC236}">
                <a16:creationId xmlns:a16="http://schemas.microsoft.com/office/drawing/2014/main" id="{AE651018-3AC3-485E-97EC-CF3439912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265" y="1509823"/>
            <a:ext cx="5822963" cy="499111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81335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10132826" y="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holdout set!</a:t>
            </a: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DD4A56E7-3B98-4260-A74D-E8123217B7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9280" y="1531086"/>
            <a:ext cx="5649298" cy="48422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199FDA66-3181-4092-9B62-E7DBD4D4C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694" y="1528492"/>
            <a:ext cx="5649297" cy="484225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291323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-Processing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1698819" y="18342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RC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128 rows removed due to NA in BMI</a:t>
            </a:r>
          </a:p>
          <a:p>
            <a:pPr marL="285750" indent="-285750">
              <a:buFontTx/>
              <a:buChar char="-"/>
            </a:pPr>
            <a:r>
              <a:rPr lang="de-DE" dirty="0"/>
              <a:t>DE saved separately as holdout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 tests were done with country sets: USA, China, Austria, France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214281-F802-4F96-A098-F69D765E4AFA}"/>
              </a:ext>
            </a:extLst>
          </p:cNvPr>
          <p:cNvSpPr txBox="1"/>
          <p:nvPr/>
        </p:nvSpPr>
        <p:spPr>
          <a:xfrm>
            <a:off x="6199935" y="93132"/>
            <a:ext cx="609777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u="sng" dirty="0"/>
              <a:t>Imputation</a:t>
            </a:r>
            <a:r>
              <a:rPr lang="de-DE" sz="14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mbImpute needs phylogenetic tree -&gt; ignored for now 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EstMB dataset: pseudocount inserts decimal values between 0 and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Solution for now: all these values were rounded up to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Possibly in a later run keep decimal values, because some papers suggest sensitivity to pseudocount in machine learning model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ADFB58-875E-4AAE-BDAE-D861E7F9DC27}"/>
              </a:ext>
            </a:extLst>
          </p:cNvPr>
          <p:cNvSpPr txBox="1"/>
          <p:nvPr/>
        </p:nvSpPr>
        <p:spPr>
          <a:xfrm>
            <a:off x="1720971" y="3408432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O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4548D0-C361-4108-B284-1351D54B8DFD}"/>
              </a:ext>
            </a:extLst>
          </p:cNvPr>
          <p:cNvSpPr txBox="1"/>
          <p:nvPr/>
        </p:nvSpPr>
        <p:spPr>
          <a:xfrm>
            <a:off x="1720971" y="4717667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5387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ansformation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LR/ALR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LR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part.names and part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Column names ALR?</a:t>
            </a:r>
          </a:p>
          <a:p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7B4AF-462B-468E-AAF9-0BB332281A81}"/>
              </a:ext>
            </a:extLst>
          </p:cNvPr>
          <p:cNvSpPr txBox="1"/>
          <p:nvPr/>
        </p:nvSpPr>
        <p:spPr>
          <a:xfrm>
            <a:off x="2589212" y="3278973"/>
            <a:ext cx="7102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: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eeds a lot of time for ALR -&gt; solved in HPC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356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Hierarchy dimensionality reduction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A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Microbiome Preprocessing Machine Learning Pipeline (2021)</a:t>
            </a:r>
          </a:p>
          <a:p>
            <a:pPr marL="285750" indent="-285750">
              <a:buFontTx/>
              <a:buChar char="-"/>
            </a:pPr>
            <a:r>
              <a:rPr lang="de-DE" dirty="0"/>
              <a:t>Proposes to use PCA as hierarchy reduction </a:t>
            </a:r>
          </a:p>
          <a:p>
            <a:pPr marL="285750" indent="-285750">
              <a:buFontTx/>
              <a:buChar char="-"/>
            </a:pPr>
            <a:r>
              <a:rPr lang="de-DE" dirty="0"/>
              <a:t>Families can be clustered and genus is not necessar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9196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bial features are not independent </a:t>
            </a:r>
          </a:p>
          <a:p>
            <a:r>
              <a:rPr lang="de-DE" dirty="0"/>
              <a:t>Some microbial features are found in correla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1953-0627-4313-9F69-D3CE525D0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otes: 01.04. mee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6F84D-370D-481F-BDA8-9BEF48EC1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ipeline:</a:t>
            </a:r>
          </a:p>
          <a:p>
            <a:pPr lvl="1"/>
            <a:r>
              <a:rPr lang="de-DE" dirty="0"/>
              <a:t>Test models and codacore on the same training&amp;test split (and set seed)</a:t>
            </a:r>
          </a:p>
          <a:p>
            <a:pPr lvl="1"/>
            <a:r>
              <a:rPr lang="de-DE" dirty="0"/>
              <a:t>Take out training and test split from run_ml?</a:t>
            </a:r>
          </a:p>
          <a:p>
            <a:pPr lvl="1"/>
            <a:r>
              <a:rPr lang="de-DE" dirty="0"/>
              <a:t>K_folds and CV_folds don‘t have to be the same for every data set</a:t>
            </a:r>
          </a:p>
          <a:p>
            <a:pPr lvl="1"/>
            <a:r>
              <a:rPr lang="de-DE" dirty="0"/>
              <a:t>Time comparison?</a:t>
            </a:r>
          </a:p>
          <a:p>
            <a:r>
              <a:rPr lang="de-DE" dirty="0"/>
              <a:t>CRC:</a:t>
            </a:r>
          </a:p>
          <a:p>
            <a:pPr lvl="1"/>
            <a:r>
              <a:rPr lang="de-DE" dirty="0"/>
              <a:t>Keep one country cohorts for extra validation </a:t>
            </a:r>
          </a:p>
          <a:p>
            <a:pPr lvl="1"/>
            <a:r>
              <a:rPr lang="de-DE" dirty="0"/>
              <a:t>BMI as outcome_column for continuous</a:t>
            </a:r>
          </a:p>
          <a:p>
            <a:pPr lvl="1"/>
            <a:r>
              <a:rPr lang="de-DE" dirty="0"/>
              <a:t>GROUP for classification </a:t>
            </a:r>
          </a:p>
          <a:p>
            <a:pPr marL="4572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0C8DB-9090-4B20-AED9-6E2044F98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DF03D-2B74-42A5-8C31-B3A7B6D5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97826-F4D6-4DDE-B171-FF032CD95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593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  <p:pic>
        <p:nvPicPr>
          <p:cNvPr id="34" name="Graphic 33" descr="Close with solid fill">
            <a:extLst>
              <a:ext uri="{FF2B5EF4-FFF2-40B4-BE49-F238E27FC236}">
                <a16:creationId xmlns:a16="http://schemas.microsoft.com/office/drawing/2014/main" id="{E98B86D3-2AAA-4120-99D3-797D3A1503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5047" y="3532546"/>
            <a:ext cx="382761" cy="38276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596008F-3F97-464D-A5A5-0D17959ACABC}"/>
              </a:ext>
            </a:extLst>
          </p:cNvPr>
          <p:cNvSpPr txBox="1"/>
          <p:nvPr/>
        </p:nvSpPr>
        <p:spPr>
          <a:xfrm>
            <a:off x="8792220" y="453820"/>
            <a:ext cx="3293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Good pipeling exists with mikropm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9BB22B-C82B-4BA1-BA74-FC15E3ECF079}"/>
              </a:ext>
            </a:extLst>
          </p:cNvPr>
          <p:cNvSpPr txBox="1"/>
          <p:nvPr/>
        </p:nvSpPr>
        <p:spPr>
          <a:xfrm>
            <a:off x="8155403" y="3378657"/>
            <a:ext cx="30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C52E629F-A72D-4237-BE87-494E938BDE6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50237" y="4043735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2C4512-AA65-48E7-8ECD-C1D03FB41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62" y="1793352"/>
            <a:ext cx="11932920" cy="42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E1F4F-614D-4C18-ACED-3D5E4C49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P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4F1FA-59A5-4B2B-870B-F4C974AC8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835F-39C0-45A5-8592-92AD5349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07CFC-DB8A-42F0-A4D2-7FA59992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F55820F-4F3E-41C8-8DC6-59EA5560A8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7" r="1534"/>
          <a:stretch/>
        </p:blipFill>
        <p:spPr>
          <a:xfrm>
            <a:off x="6709770" y="787782"/>
            <a:ext cx="5288340" cy="51557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00D398-D659-49DC-9CBD-3F46ABA42A43}"/>
              </a:ext>
            </a:extLst>
          </p:cNvPr>
          <p:cNvSpPr txBox="1"/>
          <p:nvPr/>
        </p:nvSpPr>
        <p:spPr>
          <a:xfrm>
            <a:off x="1935480" y="2036605"/>
            <a:ext cx="4521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PN:</a:t>
            </a:r>
          </a:p>
          <a:p>
            <a:r>
              <a:rPr lang="de-DE" i="1" dirty="0"/>
              <a:t>https://wiki.ut.ee/pages/viewpage.action?pageId=17105590</a:t>
            </a:r>
          </a:p>
        </p:txBody>
      </p:sp>
    </p:spTree>
    <p:extLst>
      <p:ext uri="{BB962C8B-B14F-4D97-AF65-F5344CB8AC3E}">
        <p14:creationId xmlns:p14="http://schemas.microsoft.com/office/powerpoint/2010/main" val="1284101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4/1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CA71858-F2F5-47D7-A96C-350DD764A8F1}"/>
              </a:ext>
            </a:extLst>
          </p:cNvPr>
          <p:cNvSpPr txBox="1"/>
          <p:nvPr/>
        </p:nvSpPr>
        <p:spPr>
          <a:xfrm>
            <a:off x="2679405" y="3429000"/>
            <a:ext cx="72106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Imputes itself -&gt; no control over it</a:t>
            </a:r>
          </a:p>
          <a:p>
            <a:pPr marL="285750" indent="-285750">
              <a:buFontTx/>
              <a:buChar char="-"/>
            </a:pPr>
            <a:r>
              <a:rPr lang="de-DE" dirty="0"/>
              <a:t>Cannot handle negative values -&gt; cannot feed it transformed values (or not without adding an extra scaling step)</a:t>
            </a:r>
          </a:p>
          <a:p>
            <a:pPr marL="285750" indent="-285750">
              <a:buFontTx/>
              <a:buChar char="-"/>
            </a:pPr>
            <a:r>
              <a:rPr lang="de-DE" dirty="0"/>
              <a:t>Classes need to be converted to binary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s a long time to process -&gt; a lot longer than glmnet (exact time measurement?)</a:t>
            </a:r>
          </a:p>
        </p:txBody>
      </p:sp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1523</Words>
  <Application>Microsoft Office PowerPoint</Application>
  <PresentationFormat>Widescreen</PresentationFormat>
  <Paragraphs>293</Paragraphs>
  <Slides>3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5" baseType="lpstr">
      <vt:lpstr>Arial</vt:lpstr>
      <vt:lpstr>Calibri</vt:lpstr>
      <vt:lpstr>Century Gothic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HPC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Pipeline</vt:lpstr>
      <vt:lpstr>PCOS</vt:lpstr>
      <vt:lpstr>PCOS</vt:lpstr>
      <vt:lpstr>PCOS</vt:lpstr>
      <vt:lpstr>PCOS</vt:lpstr>
      <vt:lpstr>mikropml</vt:lpstr>
      <vt:lpstr>PCOS classification and same initial split</vt:lpstr>
      <vt:lpstr>CRC classification and same initial split</vt:lpstr>
      <vt:lpstr>CRC classification and same initial split</vt:lpstr>
      <vt:lpstr>Pre-Processing</vt:lpstr>
      <vt:lpstr>Transformations</vt:lpstr>
      <vt:lpstr>Hierarchy dimensionality reduction</vt:lpstr>
      <vt:lpstr>Data set</vt:lpstr>
      <vt:lpstr>Amalgams</vt:lpstr>
      <vt:lpstr>Problems</vt:lpstr>
      <vt:lpstr>Notes 30.01. meeting</vt:lpstr>
      <vt:lpstr>Notes: 01.04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84</cp:revision>
  <dcterms:created xsi:type="dcterms:W3CDTF">2022-01-12T16:41:21Z</dcterms:created>
  <dcterms:modified xsi:type="dcterms:W3CDTF">2022-04-14T11:32:39Z</dcterms:modified>
</cp:coreProperties>
</file>